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heme/themeOverride1.xml" ContentType="application/vnd.openxmlformats-officedocument.themeOverr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metadata" ContentType="application/binary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trictFirstAndLastChars="0" saveSubsetFonts="1" autoCompressPictures="0">
  <p:sldMasterIdLst>
    <p:sldMasterId id="2147483648" r:id="rId1"/>
  </p:sldMasterIdLst>
  <p:notesMasterIdLst>
    <p:notesMasterId r:id="rId8"/>
  </p:notesMasterIdLst>
  <p:sldIdLst>
    <p:sldId id="264" r:id="rId2"/>
    <p:sldId id="267" r:id="rId3"/>
    <p:sldId id="269" r:id="rId4"/>
    <p:sldId id="265" r:id="rId5"/>
    <p:sldId id="266" r:id="rId6"/>
    <p:sldId id="268" r:id="rId7"/>
  </p:sldIdLst>
  <p:sldSz cx="8961438" cy="6721475"/>
  <p:notesSz cx="6797675" cy="9926638"/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>
        <p15:guide id="1" orient="horz" pos="293">
          <p15:clr>
            <a:srgbClr val="A4A3A4"/>
          </p15:clr>
        </p15:guide>
        <p15:guide id="2" pos="5535">
          <p15:clr>
            <a:srgbClr val="A4A3A4"/>
          </p15:clr>
        </p15:guide>
        <p15:guide id="3" pos="119">
          <p15:clr>
            <a:srgbClr val="A4A3A4"/>
          </p15:clr>
        </p15:guide>
        <p15:guide id="4" pos="3664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7">
          <p15:clr>
            <a:srgbClr val="A4A3A4"/>
          </p15:clr>
        </p15:guide>
        <p15:guide id="2" pos="2142">
          <p15:clr>
            <a:srgbClr val="A4A3A4"/>
          </p15:clr>
        </p15:guide>
      </p15:notesGuideLst>
    </p:ext>
    <p:ext uri="http://customooxmlschemas.google.com/">
      <go:slidesCustomData xmlns="" xmlns:mc="http://schemas.openxmlformats.org/markup-compatibility/2006" xmlns:mv="urn:schemas-microsoft-com:mac:vml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xmlns:go="http://customooxmlschemas.google.com/" r:id="rId15" roundtripDataSignature="AMtx7mhm9BQygXBgTJ2GTFksXcKVEpy+pQ==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9968" autoAdjust="0"/>
    <p:restoredTop sz="77203" autoAdjust="0"/>
  </p:normalViewPr>
  <p:slideViewPr>
    <p:cSldViewPr snapToGrid="0">
      <p:cViewPr varScale="1">
        <p:scale>
          <a:sx n="108" d="100"/>
          <a:sy n="108" d="100"/>
        </p:scale>
        <p:origin x="1440" y="114"/>
      </p:cViewPr>
      <p:guideLst>
        <p:guide orient="horz" pos="293"/>
        <p:guide pos="5535"/>
        <p:guide pos="119"/>
        <p:guide pos="3664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100" d="100"/>
          <a:sy n="100" d="100"/>
        </p:scale>
        <p:origin x="0" y="0"/>
      </p:cViewPr>
      <p:guideLst>
        <p:guide orient="horz" pos="3127"/>
        <p:guide pos="2142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8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7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5" Type="http://schemas.openxmlformats.org/officeDocument/2006/relationships/slide" Target="slides/slide4.xml"/><Relationship Id="rId15" Type="http://customschemas.google.com/relationships/presentationmetadata" Target="metadata"/><Relationship Id="rId19" Type="http://schemas.openxmlformats.org/officeDocument/2006/relationships/tableStyles" Target="tableStyles.xml"/><Relationship Id="rId4" Type="http://schemas.openxmlformats.org/officeDocument/2006/relationships/slide" Target="slides/slide3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.xml"/><Relationship Id="rId2" Type="http://schemas.microsoft.com/office/2011/relationships/chartColorStyle" Target="colors1.xml"/><Relationship Id="rId1" Type="http://schemas.microsoft.com/office/2011/relationships/chartStyle" Target="style1.xml"/><Relationship Id="rId4" Type="http://schemas.openxmlformats.org/officeDocument/2006/relationships/package" Target="../embeddings/Microsoft_Excel_Worksheet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6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Correlation between variables and pump indicators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1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bar"/>
        <c:grouping val="clustered"/>
        <c:varyColors val="1"/>
        <c:ser>
          <c:idx val="0"/>
          <c:order val="0"/>
          <c:invertIfNegative val="0"/>
          <c:dPt>
            <c:idx val="0"/>
            <c:invertIfNegative val="0"/>
            <c:bubble3D val="0"/>
            <c:spPr>
              <a:gradFill rotWithShape="1">
                <a:gsLst>
                  <a:gs pos="0">
                    <a:schemeClr val="accent6">
                      <a:shade val="47000"/>
                      <a:satMod val="103000"/>
                      <a:lumMod val="102000"/>
                      <a:tint val="94000"/>
                    </a:schemeClr>
                  </a:gs>
                  <a:gs pos="50000">
                    <a:schemeClr val="accent6">
                      <a:shade val="47000"/>
                      <a:satMod val="110000"/>
                      <a:lumMod val="100000"/>
                      <a:shade val="100000"/>
                    </a:schemeClr>
                  </a:gs>
                  <a:gs pos="100000">
                    <a:schemeClr val="accent6">
                      <a:shade val="47000"/>
                      <a:lumMod val="99000"/>
                      <a:satMod val="120000"/>
                      <a:shade val="78000"/>
                    </a:schemeClr>
                  </a:gs>
                </a:gsLst>
                <a:lin ang="5400000" scaled="0"/>
              </a:gradFill>
              <a:ln>
                <a:noFill/>
              </a:ln>
              <a:effectLst>
                <a:outerShdw blurRad="57150" dist="19050" dir="5400000" algn="ctr" rotWithShape="0">
                  <a:srgbClr val="000000">
                    <a:alpha val="63000"/>
                  </a:srgb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1-8B40-4F2C-8E33-30563699EC68}"/>
              </c:ext>
            </c:extLst>
          </c:dPt>
          <c:dPt>
            <c:idx val="1"/>
            <c:invertIfNegative val="0"/>
            <c:bubble3D val="0"/>
            <c:spPr>
              <a:gradFill rotWithShape="1">
                <a:gsLst>
                  <a:gs pos="0">
                    <a:schemeClr val="accent6">
                      <a:shade val="65000"/>
                      <a:satMod val="103000"/>
                      <a:lumMod val="102000"/>
                      <a:tint val="94000"/>
                    </a:schemeClr>
                  </a:gs>
                  <a:gs pos="50000">
                    <a:schemeClr val="accent6">
                      <a:shade val="65000"/>
                      <a:satMod val="110000"/>
                      <a:lumMod val="100000"/>
                      <a:shade val="100000"/>
                    </a:schemeClr>
                  </a:gs>
                  <a:gs pos="100000">
                    <a:schemeClr val="accent6">
                      <a:shade val="65000"/>
                      <a:lumMod val="99000"/>
                      <a:satMod val="120000"/>
                      <a:shade val="78000"/>
                    </a:schemeClr>
                  </a:gs>
                </a:gsLst>
                <a:lin ang="5400000" scaled="0"/>
              </a:gradFill>
              <a:ln>
                <a:noFill/>
              </a:ln>
              <a:effectLst>
                <a:outerShdw blurRad="57150" dist="19050" dir="5400000" algn="ctr" rotWithShape="0">
                  <a:srgbClr val="000000">
                    <a:alpha val="63000"/>
                  </a:srgb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3-8B40-4F2C-8E33-30563699EC68}"/>
              </c:ext>
            </c:extLst>
          </c:dPt>
          <c:dPt>
            <c:idx val="2"/>
            <c:invertIfNegative val="0"/>
            <c:bubble3D val="0"/>
            <c:spPr>
              <a:gradFill rotWithShape="1">
                <a:gsLst>
                  <a:gs pos="0">
                    <a:schemeClr val="accent6">
                      <a:shade val="82000"/>
                      <a:satMod val="103000"/>
                      <a:lumMod val="102000"/>
                      <a:tint val="94000"/>
                    </a:schemeClr>
                  </a:gs>
                  <a:gs pos="50000">
                    <a:schemeClr val="accent6">
                      <a:shade val="82000"/>
                      <a:satMod val="110000"/>
                      <a:lumMod val="100000"/>
                      <a:shade val="100000"/>
                    </a:schemeClr>
                  </a:gs>
                  <a:gs pos="100000">
                    <a:schemeClr val="accent6">
                      <a:shade val="82000"/>
                      <a:lumMod val="99000"/>
                      <a:satMod val="120000"/>
                      <a:shade val="78000"/>
                    </a:schemeClr>
                  </a:gs>
                </a:gsLst>
                <a:lin ang="5400000" scaled="0"/>
              </a:gradFill>
              <a:ln>
                <a:noFill/>
              </a:ln>
              <a:effectLst>
                <a:outerShdw blurRad="57150" dist="19050" dir="5400000" algn="ctr" rotWithShape="0">
                  <a:srgbClr val="000000">
                    <a:alpha val="63000"/>
                  </a:srgb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5-8B40-4F2C-8E33-30563699EC68}"/>
              </c:ext>
            </c:extLst>
          </c:dPt>
          <c:dPt>
            <c:idx val="3"/>
            <c:invertIfNegative val="0"/>
            <c:bubble3D val="0"/>
            <c:spPr>
              <a:gradFill rotWithShape="1">
                <a:gsLst>
                  <a:gs pos="0">
                    <a:schemeClr val="accent6">
                      <a:satMod val="103000"/>
                      <a:lumMod val="102000"/>
                      <a:tint val="94000"/>
                    </a:schemeClr>
                  </a:gs>
                  <a:gs pos="50000">
                    <a:schemeClr val="accent6">
                      <a:satMod val="110000"/>
                      <a:lumMod val="100000"/>
                      <a:shade val="100000"/>
                    </a:schemeClr>
                  </a:gs>
                  <a:gs pos="100000">
                    <a:schemeClr val="accent6">
                      <a:lumMod val="99000"/>
                      <a:satMod val="120000"/>
                      <a:shade val="78000"/>
                    </a:schemeClr>
                  </a:gs>
                </a:gsLst>
                <a:lin ang="5400000" scaled="0"/>
              </a:gradFill>
              <a:ln>
                <a:noFill/>
              </a:ln>
              <a:effectLst>
                <a:outerShdw blurRad="57150" dist="19050" dir="5400000" algn="ctr" rotWithShape="0">
                  <a:srgbClr val="000000">
                    <a:alpha val="63000"/>
                  </a:srgb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7-8B40-4F2C-8E33-30563699EC68}"/>
              </c:ext>
            </c:extLst>
          </c:dPt>
          <c:dPt>
            <c:idx val="4"/>
            <c:invertIfNegative val="0"/>
            <c:bubble3D val="0"/>
            <c:spPr>
              <a:gradFill rotWithShape="1">
                <a:gsLst>
                  <a:gs pos="0">
                    <a:schemeClr val="accent6">
                      <a:tint val="83000"/>
                      <a:satMod val="103000"/>
                      <a:lumMod val="102000"/>
                      <a:tint val="94000"/>
                    </a:schemeClr>
                  </a:gs>
                  <a:gs pos="50000">
                    <a:schemeClr val="accent6">
                      <a:tint val="83000"/>
                      <a:satMod val="110000"/>
                      <a:lumMod val="100000"/>
                      <a:shade val="100000"/>
                    </a:schemeClr>
                  </a:gs>
                  <a:gs pos="100000">
                    <a:schemeClr val="accent6">
                      <a:tint val="83000"/>
                      <a:lumMod val="99000"/>
                      <a:satMod val="120000"/>
                      <a:shade val="78000"/>
                    </a:schemeClr>
                  </a:gs>
                </a:gsLst>
                <a:lin ang="5400000" scaled="0"/>
              </a:gradFill>
              <a:ln>
                <a:noFill/>
              </a:ln>
              <a:effectLst>
                <a:outerShdw blurRad="57150" dist="19050" dir="5400000" algn="ctr" rotWithShape="0">
                  <a:srgbClr val="000000">
                    <a:alpha val="63000"/>
                  </a:srgb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9-8B40-4F2C-8E33-30563699EC68}"/>
              </c:ext>
            </c:extLst>
          </c:dPt>
          <c:dPt>
            <c:idx val="5"/>
            <c:invertIfNegative val="0"/>
            <c:bubble3D val="0"/>
            <c:spPr>
              <a:gradFill rotWithShape="1">
                <a:gsLst>
                  <a:gs pos="0">
                    <a:schemeClr val="accent6">
                      <a:tint val="65000"/>
                      <a:satMod val="103000"/>
                      <a:lumMod val="102000"/>
                      <a:tint val="94000"/>
                    </a:schemeClr>
                  </a:gs>
                  <a:gs pos="50000">
                    <a:schemeClr val="accent6">
                      <a:tint val="65000"/>
                      <a:satMod val="110000"/>
                      <a:lumMod val="100000"/>
                      <a:shade val="100000"/>
                    </a:schemeClr>
                  </a:gs>
                  <a:gs pos="100000">
                    <a:schemeClr val="accent6">
                      <a:tint val="65000"/>
                      <a:lumMod val="99000"/>
                      <a:satMod val="120000"/>
                      <a:shade val="78000"/>
                    </a:schemeClr>
                  </a:gs>
                </a:gsLst>
                <a:lin ang="5400000" scaled="0"/>
              </a:gradFill>
              <a:ln>
                <a:noFill/>
              </a:ln>
              <a:effectLst>
                <a:outerShdw blurRad="57150" dist="19050" dir="5400000" algn="ctr" rotWithShape="0">
                  <a:srgbClr val="000000">
                    <a:alpha val="63000"/>
                  </a:srgb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B-8B40-4F2C-8E33-30563699EC68}"/>
              </c:ext>
            </c:extLst>
          </c:dPt>
          <c:dPt>
            <c:idx val="6"/>
            <c:invertIfNegative val="0"/>
            <c:bubble3D val="0"/>
            <c:spPr>
              <a:gradFill rotWithShape="1">
                <a:gsLst>
                  <a:gs pos="0">
                    <a:schemeClr val="accent6">
                      <a:tint val="48000"/>
                      <a:satMod val="103000"/>
                      <a:lumMod val="102000"/>
                      <a:tint val="94000"/>
                    </a:schemeClr>
                  </a:gs>
                  <a:gs pos="50000">
                    <a:schemeClr val="accent6">
                      <a:tint val="48000"/>
                      <a:satMod val="110000"/>
                      <a:lumMod val="100000"/>
                      <a:shade val="100000"/>
                    </a:schemeClr>
                  </a:gs>
                  <a:gs pos="100000">
                    <a:schemeClr val="accent6">
                      <a:tint val="48000"/>
                      <a:lumMod val="99000"/>
                      <a:satMod val="120000"/>
                      <a:shade val="78000"/>
                    </a:schemeClr>
                  </a:gs>
                </a:gsLst>
                <a:lin ang="5400000" scaled="0"/>
              </a:gradFill>
              <a:ln>
                <a:noFill/>
              </a:ln>
              <a:effectLst>
                <a:outerShdw blurRad="57150" dist="19050" dir="5400000" algn="ctr" rotWithShape="0">
                  <a:srgbClr val="000000">
                    <a:alpha val="63000"/>
                  </a:srgb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D-8B40-4F2C-8E33-30563699EC68}"/>
              </c:ext>
            </c:extLst>
          </c:dPt>
          <c:dLbls>
            <c:numFmt formatCode="#,##0.0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correlation matrix'!$B$15:$B$21</c:f>
              <c:strCache>
                <c:ptCount val="7"/>
                <c:pt idx="0">
                  <c:v>SURJEK_FLOW_METER_1</c:v>
                </c:pt>
                <c:pt idx="1">
                  <c:v>SURJEK_PUMP_TORQUE</c:v>
                </c:pt>
                <c:pt idx="2">
                  <c:v>ROTATIONAL_PUMP_RPM</c:v>
                </c:pt>
                <c:pt idx="3">
                  <c:v>SURJEK_FLOW_METER_2</c:v>
                </c:pt>
                <c:pt idx="4">
                  <c:v>MAXIMUM_DAILY_PUMP_TORQUE</c:v>
                </c:pt>
                <c:pt idx="5">
                  <c:v>SURJEK_ESTIMATED_EFFICIENCY</c:v>
                </c:pt>
                <c:pt idx="6">
                  <c:v>SURJEK_TUBE_PRESSURE</c:v>
                </c:pt>
              </c:strCache>
            </c:strRef>
          </c:cat>
          <c:val>
            <c:numRef>
              <c:f>'correlation matrix'!$C$15:$C$21</c:f>
              <c:numCache>
                <c:formatCode>General</c:formatCode>
                <c:ptCount val="7"/>
                <c:pt idx="0">
                  <c:v>0.49410400368353197</c:v>
                </c:pt>
                <c:pt idx="1">
                  <c:v>0.45276053569638247</c:v>
                </c:pt>
                <c:pt idx="2">
                  <c:v>0.41738409973182589</c:v>
                </c:pt>
                <c:pt idx="3">
                  <c:v>0.32673980634397926</c:v>
                </c:pt>
                <c:pt idx="4">
                  <c:v>0.10746679275604611</c:v>
                </c:pt>
                <c:pt idx="5">
                  <c:v>2.7142782409621483E-2</c:v>
                </c:pt>
                <c:pt idx="6">
                  <c:v>9.9664599721438138E-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E-8B40-4F2C-8E33-30563699EC6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63"/>
        <c:overlap val="-20"/>
        <c:axId val="2021081200"/>
        <c:axId val="2020450240"/>
      </c:barChart>
      <c:catAx>
        <c:axId val="2021081200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12700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020450240"/>
        <c:crosses val="autoZero"/>
        <c:auto val="1"/>
        <c:lblAlgn val="ctr"/>
        <c:lblOffset val="100"/>
        <c:noMultiLvlLbl val="0"/>
      </c:catAx>
      <c:valAx>
        <c:axId val="2020450240"/>
        <c:scaling>
          <c:orientation val="minMax"/>
        </c:scaling>
        <c:delete val="0"/>
        <c:axPos val="t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/>
                  <a:t>Correlation strength(0=weak, 1= strong)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02108120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solidFill>
        <a:srgbClr val="002C46"/>
      </a:solidFill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style1.xml><?xml version="1.0" encoding="utf-8"?>
<cs:chartStyle xmlns:cs="http://schemas.microsoft.com/office/drawing/2012/chartStyle" xmlns:a="http://schemas.openxmlformats.org/drawingml/2006/main" id="34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3"/>
    <cs:fontRef idx="minor">
      <a:schemeClr val="tx1"/>
    </cs:fontRef>
  </cs:dataPoint>
  <cs:dataPoint3D>
    <cs:lnRef idx="0"/>
    <cs:fillRef idx="3">
      <cs:styleClr val="auto"/>
    </cs:fillRef>
    <cs:effectRef idx="3"/>
    <cs:fontRef idx="minor">
      <a:schemeClr val="tx1"/>
    </cs:fontRef>
  </cs:dataPoint3D>
  <cs:dataPointLine>
    <cs:lnRef idx="0">
      <cs:styleClr val="auto"/>
    </cs:lnRef>
    <cs:fillRef idx="3"/>
    <cs:effectRef idx="3"/>
    <cs:fontRef idx="minor">
      <a:schemeClr val="tx1"/>
    </cs:fontRef>
    <cs:spPr>
      <a:ln w="349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3">
      <cs:styleClr val="auto"/>
    </cs:fillRef>
    <cs:effectRef idx="3"/>
    <cs:fontRef idx="minor">
      <a:schemeClr val="tx1"/>
    </cs:fontRef>
    <cs:spPr>
      <a:ln w="9525">
        <a:solidFill>
          <a:schemeClr val="phClr"/>
        </a:solidFill>
        <a:round/>
      </a:ln>
    </cs:spPr>
  </cs:dataPointMarker>
  <cs:dataPointMarkerLayout size="5"/>
  <cs:dataPointWireframe>
    <cs:lnRef idx="0">
      <cs:styleClr val="auto"/>
    </cs:lnRef>
    <cs:fillRef idx="3"/>
    <cs:effectRef idx="3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lt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>
    <cs:lnRef idx="0"/>
    <cs:fillRef idx="0"/>
    <cs:effectRef idx="0"/>
    <cs:fontRef idx="minor">
      <a:schemeClr val="lt1"/>
    </cs:fontRef>
  </cs:plotArea>
  <cs:plotArea3D>
    <cs:lnRef idx="0"/>
    <cs:fillRef idx="0"/>
    <cs:effectRef idx="0"/>
    <cs:fontRef idx="minor">
      <a:schemeClr val="lt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600" b="1" kern="1200" baseline="0"/>
  </cs:title>
  <cs:trendline>
    <cs:lnRef idx="0">
      <cs:styleClr val="auto"/>
    </cs:lnRef>
    <cs:fillRef idx="0"/>
    <cs:effectRef idx="0"/>
    <cs:fontRef idx="minor">
      <a:schemeClr val="lt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lt1"/>
    </cs:fontRef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png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png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png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png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png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png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png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>
            <a:spLocks noGrp="1" noRot="1" noChangeAspect="1"/>
          </p:cNvSpPr>
          <p:nvPr>
            <p:ph type="sldImg" idx="2"/>
          </p:nvPr>
        </p:nvSpPr>
        <p:spPr>
          <a:xfrm>
            <a:off x="487363" y="620713"/>
            <a:ext cx="5827712" cy="4370387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chemeClr val="accent4"/>
            </a:solidFill>
            <a:prstDash val="solid"/>
            <a:miter lim="800000"/>
            <a:headEnd type="none" w="sm" len="sm"/>
            <a:tailEnd type="none" w="sm" len="sm"/>
          </a:ln>
        </p:spPr>
      </p:sp>
      <p:sp>
        <p:nvSpPr>
          <p:cNvPr id="4" name="Google Shape;4;n"/>
          <p:cNvSpPr txBox="1">
            <a:spLocks noGrp="1"/>
          </p:cNvSpPr>
          <p:nvPr>
            <p:ph type="body" idx="1"/>
          </p:nvPr>
        </p:nvSpPr>
        <p:spPr>
          <a:xfrm>
            <a:off x="472065" y="5333979"/>
            <a:ext cx="5859954" cy="12291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50519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920"/>
              <a:buFont typeface="Arial"/>
              <a:buChar char="▪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50519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920"/>
              <a:buFont typeface="Arial"/>
              <a:buChar char="–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302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600"/>
              <a:buFont typeface="Arial"/>
              <a:buChar char="▫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1902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24"/>
              <a:buFont typeface="Arial"/>
              <a:buChar char="-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5" name="Google Shape;5;n"/>
          <p:cNvSpPr txBox="1">
            <a:spLocks noGrp="1"/>
          </p:cNvSpPr>
          <p:nvPr>
            <p:ph type="sldNum" idx="12"/>
          </p:nvPr>
        </p:nvSpPr>
        <p:spPr>
          <a:xfrm>
            <a:off x="6140848" y="9545294"/>
            <a:ext cx="191168" cy="1856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fld id="{00000000-1234-1234-1234-123412341234}" type="slidenum">
              <a:rPr lang="en-US"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‹#›</a:t>
            </a:fld>
            <a:endParaRPr sz="1200" b="0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" name="Google Shape;6;n"/>
          <p:cNvSpPr txBox="1">
            <a:spLocks noGrp="1"/>
          </p:cNvSpPr>
          <p:nvPr>
            <p:ph type="ftr" idx="11"/>
          </p:nvPr>
        </p:nvSpPr>
        <p:spPr>
          <a:xfrm>
            <a:off x="6331953" y="110938"/>
            <a:ext cx="65" cy="12291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marR="0" lvl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Google Shape;37;p1:notes"/>
          <p:cNvSpPr>
            <a:spLocks noGrp="1" noRot="1" noChangeAspect="1"/>
          </p:cNvSpPr>
          <p:nvPr>
            <p:ph type="sldImg" idx="2"/>
          </p:nvPr>
        </p:nvSpPr>
        <p:spPr>
          <a:xfrm>
            <a:off x="487363" y="620713"/>
            <a:ext cx="5827712" cy="4370387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chemeClr val="accent4"/>
            </a:solidFill>
            <a:prstDash val="solid"/>
            <a:miter lim="800000"/>
            <a:headEnd type="none" w="sm" len="sm"/>
            <a:tailEnd type="none" w="sm" len="sm"/>
          </a:ln>
        </p:spPr>
      </p:sp>
      <p:sp>
        <p:nvSpPr>
          <p:cNvPr id="38" name="Google Shape;38;p1:notes"/>
          <p:cNvSpPr txBox="1">
            <a:spLocks noGrp="1"/>
          </p:cNvSpPr>
          <p:nvPr>
            <p:ph type="body" idx="1"/>
          </p:nvPr>
        </p:nvSpPr>
        <p:spPr>
          <a:xfrm>
            <a:off x="472065" y="5333978"/>
            <a:ext cx="5859954" cy="24582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39" name="Google Shape;39;p1:notes"/>
          <p:cNvSpPr txBox="1">
            <a:spLocks noGrp="1"/>
          </p:cNvSpPr>
          <p:nvPr>
            <p:ph type="sldNum" idx="12"/>
          </p:nvPr>
        </p:nvSpPr>
        <p:spPr>
          <a:xfrm>
            <a:off x="6245419" y="9545294"/>
            <a:ext cx="86598" cy="1856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fld id="{00000000-1234-1234-1234-123412341234}" type="slidenum">
              <a:rPr lang="en-US"/>
              <a:t>0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34622112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Google Shape;45;p2:notes"/>
          <p:cNvSpPr>
            <a:spLocks noGrp="1" noRot="1" noChangeAspect="1"/>
          </p:cNvSpPr>
          <p:nvPr>
            <p:ph type="sldImg" idx="2"/>
          </p:nvPr>
        </p:nvSpPr>
        <p:spPr>
          <a:xfrm>
            <a:off x="487363" y="620713"/>
            <a:ext cx="5827712" cy="4370387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chemeClr val="accent4"/>
            </a:solidFill>
            <a:prstDash val="solid"/>
            <a:miter lim="800000"/>
            <a:headEnd type="none" w="sm" len="sm"/>
            <a:tailEnd type="none" w="sm" len="sm"/>
          </a:ln>
        </p:spPr>
      </p:sp>
      <p:sp>
        <p:nvSpPr>
          <p:cNvPr id="46" name="Google Shape;46;p2:notes"/>
          <p:cNvSpPr txBox="1">
            <a:spLocks noGrp="1"/>
          </p:cNvSpPr>
          <p:nvPr>
            <p:ph type="body" idx="1"/>
          </p:nvPr>
        </p:nvSpPr>
        <p:spPr>
          <a:xfrm>
            <a:off x="472065" y="5333979"/>
            <a:ext cx="5859954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47" name="Google Shape;47;p2:notes"/>
          <p:cNvSpPr txBox="1">
            <a:spLocks noGrp="1"/>
          </p:cNvSpPr>
          <p:nvPr>
            <p:ph type="sldNum" idx="12"/>
          </p:nvPr>
        </p:nvSpPr>
        <p:spPr>
          <a:xfrm>
            <a:off x="6247057" y="9546304"/>
            <a:ext cx="84959" cy="18466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fld id="{00000000-1234-1234-1234-123412341234}" type="slidenum">
              <a:rPr lang="en-US"/>
              <a:t>1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17568713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Google Shape;45;p2:notes"/>
          <p:cNvSpPr>
            <a:spLocks noGrp="1" noRot="1" noChangeAspect="1"/>
          </p:cNvSpPr>
          <p:nvPr>
            <p:ph type="sldImg" idx="2"/>
          </p:nvPr>
        </p:nvSpPr>
        <p:spPr>
          <a:xfrm>
            <a:off x="487363" y="620713"/>
            <a:ext cx="5827712" cy="4370387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chemeClr val="accent4"/>
            </a:solidFill>
            <a:prstDash val="solid"/>
            <a:miter lim="800000"/>
            <a:headEnd type="none" w="sm" len="sm"/>
            <a:tailEnd type="none" w="sm" len="sm"/>
          </a:ln>
        </p:spPr>
      </p:sp>
      <p:sp>
        <p:nvSpPr>
          <p:cNvPr id="46" name="Google Shape;46;p2:notes"/>
          <p:cNvSpPr txBox="1">
            <a:spLocks noGrp="1"/>
          </p:cNvSpPr>
          <p:nvPr>
            <p:ph type="body" idx="1"/>
          </p:nvPr>
        </p:nvSpPr>
        <p:spPr>
          <a:xfrm>
            <a:off x="472065" y="5333979"/>
            <a:ext cx="5859954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47" name="Google Shape;47;p2:notes"/>
          <p:cNvSpPr txBox="1">
            <a:spLocks noGrp="1"/>
          </p:cNvSpPr>
          <p:nvPr>
            <p:ph type="sldNum" idx="12"/>
          </p:nvPr>
        </p:nvSpPr>
        <p:spPr>
          <a:xfrm>
            <a:off x="6247057" y="9546304"/>
            <a:ext cx="84959" cy="18466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fld id="{00000000-1234-1234-1234-123412341234}" type="slidenum">
              <a:rPr lang="en-US"/>
              <a:t>3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27365957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Google Shape;45;p2:notes"/>
          <p:cNvSpPr>
            <a:spLocks noGrp="1" noRot="1" noChangeAspect="1"/>
          </p:cNvSpPr>
          <p:nvPr>
            <p:ph type="sldImg" idx="2"/>
          </p:nvPr>
        </p:nvSpPr>
        <p:spPr>
          <a:xfrm>
            <a:off x="487363" y="620713"/>
            <a:ext cx="5827712" cy="4370387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chemeClr val="accent4"/>
            </a:solidFill>
            <a:prstDash val="solid"/>
            <a:miter lim="800000"/>
            <a:headEnd type="none" w="sm" len="sm"/>
            <a:tailEnd type="none" w="sm" len="sm"/>
          </a:ln>
        </p:spPr>
      </p:sp>
      <p:sp>
        <p:nvSpPr>
          <p:cNvPr id="46" name="Google Shape;46;p2:notes"/>
          <p:cNvSpPr txBox="1">
            <a:spLocks noGrp="1"/>
          </p:cNvSpPr>
          <p:nvPr>
            <p:ph type="body" idx="1"/>
          </p:nvPr>
        </p:nvSpPr>
        <p:spPr>
          <a:xfrm>
            <a:off x="472065" y="5333979"/>
            <a:ext cx="5859954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47" name="Google Shape;47;p2:notes"/>
          <p:cNvSpPr txBox="1">
            <a:spLocks noGrp="1"/>
          </p:cNvSpPr>
          <p:nvPr>
            <p:ph type="sldNum" idx="12"/>
          </p:nvPr>
        </p:nvSpPr>
        <p:spPr>
          <a:xfrm>
            <a:off x="6247057" y="9546304"/>
            <a:ext cx="84959" cy="18466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fld id="{00000000-1234-1234-1234-123412341234}" type="slidenum">
              <a:rPr lang="en-US"/>
              <a:t>4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72988653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Google Shape;45;p2:notes"/>
          <p:cNvSpPr>
            <a:spLocks noGrp="1" noRot="1" noChangeAspect="1"/>
          </p:cNvSpPr>
          <p:nvPr>
            <p:ph type="sldImg" idx="2"/>
          </p:nvPr>
        </p:nvSpPr>
        <p:spPr>
          <a:xfrm>
            <a:off x="487363" y="620713"/>
            <a:ext cx="5827712" cy="4370387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chemeClr val="accent4"/>
            </a:solidFill>
            <a:prstDash val="solid"/>
            <a:miter lim="800000"/>
            <a:headEnd type="none" w="sm" len="sm"/>
            <a:tailEnd type="none" w="sm" len="sm"/>
          </a:ln>
        </p:spPr>
      </p:sp>
      <p:sp>
        <p:nvSpPr>
          <p:cNvPr id="46" name="Google Shape;46;p2:notes"/>
          <p:cNvSpPr txBox="1">
            <a:spLocks noGrp="1"/>
          </p:cNvSpPr>
          <p:nvPr>
            <p:ph type="body" idx="1"/>
          </p:nvPr>
        </p:nvSpPr>
        <p:spPr>
          <a:xfrm>
            <a:off x="472065" y="5333979"/>
            <a:ext cx="5859954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47" name="Google Shape;47;p2:notes"/>
          <p:cNvSpPr txBox="1">
            <a:spLocks noGrp="1"/>
          </p:cNvSpPr>
          <p:nvPr>
            <p:ph type="sldNum" idx="12"/>
          </p:nvPr>
        </p:nvSpPr>
        <p:spPr>
          <a:xfrm>
            <a:off x="6247057" y="9546304"/>
            <a:ext cx="84959" cy="18466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fld id="{00000000-1234-1234-1234-123412341234}" type="slidenum">
              <a:rPr lang="en-US"/>
              <a:t>5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14828489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2.png"/><Relationship Id="rId4" Type="http://schemas.openxmlformats.org/officeDocument/2006/relationships/image" Target="../media/image1.pn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3.vml"/><Relationship Id="rId4" Type="http://schemas.openxmlformats.org/officeDocument/2006/relationships/image" Target="../media/image1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 Slide">
  <p:cSld name="Title Slide">
    <p:spTree>
      <p:nvGrpSpPr>
        <p:cNvPr id="1" name="Shape 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Google Shape;14;p10"/>
          <p:cNvSpPr/>
          <p:nvPr/>
        </p:nvSpPr>
        <p:spPr>
          <a:xfrm>
            <a:off x="0" y="4630993"/>
            <a:ext cx="8961438" cy="2090481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Arial"/>
              <a:buNone/>
            </a:pPr>
            <a:endParaRPr sz="1600" b="0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aphicFrame>
        <p:nvGraphicFramePr>
          <p:cNvPr id="15" name="Google Shape;15;p10"/>
          <p:cNvGraphicFramePr/>
          <p:nvPr/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86" r:id="rId3" imgW="1587" imgH="1587" progId="TCLayout.ActiveDocument.1">
                  <p:embed/>
                </p:oleObj>
              </mc:Choice>
              <mc:Fallback>
                <p:oleObj r:id="rId3" imgW="1587" imgH="1587" progId="TCLayout.ActiveDocument.1">
                  <p:embed/>
                  <p:pic>
                    <p:nvPicPr>
                      <p:cNvPr id="15" name="Google Shape;15;p10"/>
                      <p:cNvPicPr preferRelativeResize="0"/>
                      <p:nvPr/>
                    </p:nvPicPr>
                    <p:blipFill rotWithShape="1">
                      <a:blip r:embed="rId4">
                        <a:alphaModFix/>
                      </a:blip>
                      <a:srcRect/>
                      <a:stretch/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Google Shape;16;p10"/>
          <p:cNvSpPr txBox="1">
            <a:spLocks noGrp="1"/>
          </p:cNvSpPr>
          <p:nvPr>
            <p:ph type="ctrTitle"/>
          </p:nvPr>
        </p:nvSpPr>
        <p:spPr>
          <a:xfrm>
            <a:off x="233363" y="3475212"/>
            <a:ext cx="7368890" cy="4924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3200" b="1">
                <a:latin typeface="Arial"/>
                <a:ea typeface="Arial"/>
                <a:cs typeface="Arial"/>
                <a:sym typeface="Arial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7" name="Google Shape;17;p10"/>
          <p:cNvSpPr txBox="1">
            <a:spLocks noGrp="1"/>
          </p:cNvSpPr>
          <p:nvPr>
            <p:ph type="subTitle" idx="1"/>
          </p:nvPr>
        </p:nvSpPr>
        <p:spPr>
          <a:xfrm>
            <a:off x="233363" y="4761441"/>
            <a:ext cx="7368890" cy="2154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>
                <a:latin typeface="Arial"/>
                <a:ea typeface="Arial"/>
                <a:cs typeface="Arial"/>
                <a:sym typeface="Arial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50"/>
              <a:buChar char="▪"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60"/>
              <a:buChar char="–"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60"/>
              <a:buChar char="▫"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2"/>
              <a:buChar char="-"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2"/>
              <a:buChar char="-"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2"/>
              <a:buChar char="-"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2"/>
              <a:buChar char="-"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2"/>
              <a:buChar char="-"/>
              <a:defRPr/>
            </a:lvl9pPr>
          </a:lstStyle>
          <a:p>
            <a:endParaRPr/>
          </a:p>
        </p:txBody>
      </p:sp>
      <p:sp>
        <p:nvSpPr>
          <p:cNvPr id="18" name="Google Shape;18;p10"/>
          <p:cNvSpPr/>
          <p:nvPr/>
        </p:nvSpPr>
        <p:spPr>
          <a:xfrm>
            <a:off x="8132763" y="36513"/>
            <a:ext cx="657225" cy="12223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</a:pPr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19" name="Google Shape;19;p10" descr="https://lh4.googleusercontent.com/Mo5xEJ40kcGhKGf19rqfoefwMDgEDGstwv3C0JMs_Y1J7HXWuY8KuHjIz12F4qpz39l8989Nh5t9fTPG58GPBPEtE9L9dY0nOi1oyFoNENbnqmS8eFn9dFoas4bIwH5xdPoSfddu"/>
          <p:cNvPicPr preferRelativeResize="0"/>
          <p:nvPr/>
        </p:nvPicPr>
        <p:blipFill rotWithShape="1">
          <a:blip r:embed="rId5">
            <a:alphaModFix/>
          </a:blip>
          <a:srcRect/>
          <a:stretch/>
        </p:blipFill>
        <p:spPr>
          <a:xfrm>
            <a:off x="6477666" y="0"/>
            <a:ext cx="2483772" cy="79412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">
    <p:spTree>
      <p:nvGrpSpPr>
        <p:cNvPr id="1" name="Shape 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Google Shape;21;p11"/>
          <p:cNvGraphicFramePr/>
          <p:nvPr/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10" r:id="rId3" imgW="1587" imgH="1587" progId="TCLayout.ActiveDocument.1">
                  <p:embed/>
                </p:oleObj>
              </mc:Choice>
              <mc:Fallback>
                <p:oleObj r:id="rId3" imgW="1587" imgH="1587" progId="TCLayout.ActiveDocument.1">
                  <p:embed/>
                  <p:pic>
                    <p:nvPicPr>
                      <p:cNvPr id="21" name="Google Shape;21;p11"/>
                      <p:cNvPicPr preferRelativeResize="0"/>
                      <p:nvPr/>
                    </p:nvPicPr>
                    <p:blipFill rotWithShape="1">
                      <a:blip r:embed="rId4">
                        <a:alphaModFix/>
                      </a:blip>
                      <a:srcRect/>
                      <a:stretch/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Google Shape;22;p11"/>
          <p:cNvSpPr txBox="1">
            <a:spLocks noGrp="1"/>
          </p:cNvSpPr>
          <p:nvPr>
            <p:ph type="title"/>
          </p:nvPr>
        </p:nvSpPr>
        <p:spPr>
          <a:xfrm>
            <a:off x="171451" y="230188"/>
            <a:ext cx="8618537" cy="2923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cxnSp>
        <p:nvCxnSpPr>
          <p:cNvPr id="23" name="Google Shape;23;p11"/>
          <p:cNvCxnSpPr/>
          <p:nvPr/>
        </p:nvCxnSpPr>
        <p:spPr>
          <a:xfrm>
            <a:off x="88960" y="887678"/>
            <a:ext cx="8784976" cy="0"/>
          </a:xfrm>
          <a:prstGeom prst="straightConnector1">
            <a:avLst/>
          </a:prstGeom>
          <a:noFill/>
          <a:ln w="254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cxn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png"/><Relationship Id="rId5" Type="http://schemas.openxmlformats.org/officeDocument/2006/relationships/oleObject" Target="../embeddings/oleObject1.bin"/><Relationship Id="rId4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Google Shape;8;p9"/>
          <p:cNvGraphicFramePr/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2" r:id="rId5" imgW="158750" imgH="158750" progId="TCLayout.ActiveDocument.1">
                  <p:embed/>
                </p:oleObj>
              </mc:Choice>
              <mc:Fallback>
                <p:oleObj r:id="rId5" imgW="158750" imgH="158750" progId="TCLayout.ActiveDocument.1">
                  <p:embed/>
                  <p:pic>
                    <p:nvPicPr>
                      <p:cNvPr id="8" name="Google Shape;8;p9"/>
                      <p:cNvPicPr preferRelativeResize="0"/>
                      <p:nvPr/>
                    </p:nvPicPr>
                    <p:blipFill rotWithShape="1">
                      <a:blip r:embed="rId6">
                        <a:alphaModFix/>
                      </a:blip>
                      <a:srcRect/>
                      <a:stretch/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Google Shape;9;p9"/>
          <p:cNvSpPr/>
          <p:nvPr/>
        </p:nvSpPr>
        <p:spPr>
          <a:xfrm>
            <a:off x="8132763" y="36513"/>
            <a:ext cx="657225" cy="12223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</a:pPr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" name="Google Shape;10;p9"/>
          <p:cNvSpPr txBox="1">
            <a:spLocks noGrp="1"/>
          </p:cNvSpPr>
          <p:nvPr>
            <p:ph type="body" idx="1"/>
          </p:nvPr>
        </p:nvSpPr>
        <p:spPr>
          <a:xfrm>
            <a:off x="2296318" y="2519678"/>
            <a:ext cx="4302125" cy="123110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55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000"/>
              <a:buFont typeface="Arial"/>
              <a:buChar char="▪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50519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920"/>
              <a:buFont typeface="Arial"/>
              <a:buChar char="–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50519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920"/>
              <a:buFont typeface="Arial"/>
              <a:buChar char="▫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1902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24"/>
              <a:buFont typeface="Arial"/>
              <a:buChar char="-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1902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24"/>
              <a:buFont typeface="Arial"/>
              <a:buChar char="-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1902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24"/>
              <a:buFont typeface="Arial"/>
              <a:buChar char="-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1902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24"/>
              <a:buFont typeface="Arial"/>
              <a:buChar char="-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1902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24"/>
              <a:buFont typeface="Arial"/>
              <a:buChar char="-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1" name="Google Shape;11;p9"/>
          <p:cNvSpPr txBox="1">
            <a:spLocks noGrp="1"/>
          </p:cNvSpPr>
          <p:nvPr>
            <p:ph type="title"/>
          </p:nvPr>
        </p:nvSpPr>
        <p:spPr>
          <a:xfrm>
            <a:off x="171451" y="230188"/>
            <a:ext cx="8618537" cy="2923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9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9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9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9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9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9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9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9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9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2" name="Google Shape;12;p9"/>
          <p:cNvSpPr txBox="1"/>
          <p:nvPr/>
        </p:nvSpPr>
        <p:spPr>
          <a:xfrm>
            <a:off x="8632894" y="6485048"/>
            <a:ext cx="157094" cy="1538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fld id="{00000000-1234-1234-1234-123412341234}" type="slidenum">
              <a:rPr lang="en-US"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‹#›</a:t>
            </a:fld>
            <a:endParaRPr sz="1000" b="0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49" r:id="rId1"/>
    <p:sldLayoutId id="2147483650" r:id="rId2"/>
  </p:sldLayoutIdLst>
  <p:hf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png"/><Relationship Id="rId4" Type="http://schemas.openxmlformats.org/officeDocument/2006/relationships/oleObject" Target="../embeddings/oleObject4.bin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3.png"/><Relationship Id="rId5" Type="http://schemas.openxmlformats.org/officeDocument/2006/relationships/image" Target="../media/image1.png"/><Relationship Id="rId4" Type="http://schemas.openxmlformats.org/officeDocument/2006/relationships/oleObject" Target="../embeddings/oleObject4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7" Type="http://schemas.openxmlformats.org/officeDocument/2006/relationships/image" Target="../media/image5.png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4.png"/><Relationship Id="rId5" Type="http://schemas.openxmlformats.org/officeDocument/2006/relationships/image" Target="../media/image1.png"/><Relationship Id="rId4" Type="http://schemas.openxmlformats.org/officeDocument/2006/relationships/oleObject" Target="../embeddings/oleObject4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7" Type="http://schemas.openxmlformats.org/officeDocument/2006/relationships/chart" Target="../charts/chart1.xml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6.png"/><Relationship Id="rId5" Type="http://schemas.openxmlformats.org/officeDocument/2006/relationships/image" Target="../media/image1.png"/><Relationship Id="rId4" Type="http://schemas.openxmlformats.org/officeDocument/2006/relationships/oleObject" Target="../embeddings/oleObject4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Google Shape;41;p1"/>
          <p:cNvSpPr txBox="1">
            <a:spLocks noGrp="1"/>
          </p:cNvSpPr>
          <p:nvPr>
            <p:ph type="ctrTitle"/>
          </p:nvPr>
        </p:nvSpPr>
        <p:spPr>
          <a:xfrm>
            <a:off x="233364" y="3475206"/>
            <a:ext cx="7368890" cy="98488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r>
              <a:rPr lang="en-US" dirty="0"/>
              <a:t>Southern Water Corp – Technical Presentation</a:t>
            </a:r>
            <a:endParaRPr dirty="0"/>
          </a:p>
        </p:txBody>
      </p:sp>
      <p:sp>
        <p:nvSpPr>
          <p:cNvPr id="42" name="Google Shape;42;p1"/>
          <p:cNvSpPr txBox="1"/>
          <p:nvPr/>
        </p:nvSpPr>
        <p:spPr>
          <a:xfrm>
            <a:off x="233364" y="5082685"/>
            <a:ext cx="4935537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r>
              <a:rPr lang="en-US" sz="1600" b="0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Date: 07-25-2020</a:t>
            </a:r>
            <a:endParaRPr sz="16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3" name="Google Shape;43;p1"/>
          <p:cNvSpPr txBox="1"/>
          <p:nvPr/>
        </p:nvSpPr>
        <p:spPr>
          <a:xfrm>
            <a:off x="233363" y="5390533"/>
            <a:ext cx="4935537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r>
              <a:rPr lang="en-US" sz="1600" b="0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Presenter: Xiangning Bu</a:t>
            </a:r>
            <a:endParaRPr sz="16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4820842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0" name="Google Shape;50;p2"/>
          <p:cNvGraphicFramePr/>
          <p:nvPr/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82" r:id="rId4" imgW="1587" imgH="1587" progId="TCLayout.ActiveDocument.1">
                  <p:embed/>
                </p:oleObj>
              </mc:Choice>
              <mc:Fallback>
                <p:oleObj r:id="rId4" imgW="1587" imgH="1587" progId="TCLayout.ActiveDocument.1">
                  <p:embed/>
                  <p:pic>
                    <p:nvPicPr>
                      <p:cNvPr id="50" name="Google Shape;50;p2"/>
                      <p:cNvPicPr preferRelativeResize="0"/>
                      <p:nvPr/>
                    </p:nvPicPr>
                    <p:blipFill rotWithShape="1">
                      <a:blip r:embed="rId5">
                        <a:alphaModFix/>
                      </a:blip>
                      <a:srcRect/>
                      <a:stretch/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>
            <a:extLst>
              <a:ext uri="{FF2B5EF4-FFF2-40B4-BE49-F238E27FC236}">
                <a16:creationId xmlns:a16="http://schemas.microsoft.com/office/drawing/2014/main" id="{30924D3C-4D44-42FA-B6AD-5A07CAA34892}"/>
              </a:ext>
            </a:extLst>
          </p:cNvPr>
          <p:cNvSpPr/>
          <p:nvPr/>
        </p:nvSpPr>
        <p:spPr>
          <a:xfrm>
            <a:off x="974506" y="1285003"/>
            <a:ext cx="3403600" cy="1524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Increase water production leading to instability of desalination plants  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B2566150-64BF-4AE4-8857-5AA2306CD49D}"/>
              </a:ext>
            </a:extLst>
          </p:cNvPr>
          <p:cNvSpPr/>
          <p:nvPr/>
        </p:nvSpPr>
        <p:spPr>
          <a:xfrm>
            <a:off x="4378106" y="1285003"/>
            <a:ext cx="3403600" cy="1524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Due to the high demand, particular signatures around a number of pumps indicative of system failure</a:t>
            </a:r>
          </a:p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38255043-D05C-4B8D-9AA9-48B803DD3D1F}"/>
              </a:ext>
            </a:extLst>
          </p:cNvPr>
          <p:cNvSpPr/>
          <p:nvPr/>
        </p:nvSpPr>
        <p:spPr>
          <a:xfrm>
            <a:off x="974506" y="2992737"/>
            <a:ext cx="3403600" cy="1524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With incoming of the maintenance, water  production is expected to decrease </a:t>
            </a:r>
          </a:p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63A4C5D-6EF9-4C9E-8CD2-D0AA95E80EDD}"/>
              </a:ext>
            </a:extLst>
          </p:cNvPr>
          <p:cNvSpPr/>
          <p:nvPr/>
        </p:nvSpPr>
        <p:spPr>
          <a:xfrm>
            <a:off x="4378106" y="2992737"/>
            <a:ext cx="3403600" cy="1524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rgbClr val="002060"/>
                </a:solidFill>
              </a:rPr>
              <a:t>The maintenance event reduced water production by 1968 ML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DCE919FB-D1C8-4054-A249-257E40099CDB}"/>
              </a:ext>
            </a:extLst>
          </p:cNvPr>
          <p:cNvSpPr/>
          <p:nvPr/>
        </p:nvSpPr>
        <p:spPr>
          <a:xfrm>
            <a:off x="958887" y="4838629"/>
            <a:ext cx="3403600" cy="1524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Maintenance events and less water production place pressure on profit margins  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6D598335-AC80-4560-AB85-9DDDD5EB0196}"/>
              </a:ext>
            </a:extLst>
          </p:cNvPr>
          <p:cNvSpPr/>
          <p:nvPr/>
        </p:nvSpPr>
        <p:spPr>
          <a:xfrm>
            <a:off x="4378106" y="4838629"/>
            <a:ext cx="3403600" cy="1524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rgbClr val="002060"/>
                </a:solidFill>
              </a:rPr>
              <a:t>With elevated COGS and operation expenses, causing a $38.0 production cost($/ML) increase for the 2014-2015 period</a:t>
            </a:r>
            <a:endParaRPr lang="en-US" dirty="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DC7BC958-EDB2-464E-84C0-A3F6404F9558}"/>
              </a:ext>
            </a:extLst>
          </p:cNvPr>
          <p:cNvSpPr/>
          <p:nvPr/>
        </p:nvSpPr>
        <p:spPr>
          <a:xfrm>
            <a:off x="213104" y="214720"/>
            <a:ext cx="8535230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>
                <a:solidFill>
                  <a:schemeClr val="tx1"/>
                </a:solidFill>
              </a:rPr>
              <a:t>Rising in cost-to-produce caused by higher water demand and maintenance events have placed upward pressure on SW profit margins requiring either increase production or proactive maintenance strategies </a:t>
            </a:r>
          </a:p>
        </p:txBody>
      </p:sp>
    </p:spTree>
    <p:extLst>
      <p:ext uri="{BB962C8B-B14F-4D97-AF65-F5344CB8AC3E}">
        <p14:creationId xmlns:p14="http://schemas.microsoft.com/office/powerpoint/2010/main" val="381119920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509888B0-BA8E-486A-BCC1-2089533AA859}"/>
              </a:ext>
            </a:extLst>
          </p:cNvPr>
          <p:cNvSpPr/>
          <p:nvPr/>
        </p:nvSpPr>
        <p:spPr>
          <a:xfrm>
            <a:off x="788075" y="1196226"/>
            <a:ext cx="3403600" cy="1524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Identify  a particular or sequence of variables that correlated to pump failure. 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03317E40-56C6-42FE-9D21-F02E8BB27331}"/>
              </a:ext>
            </a:extLst>
          </p:cNvPr>
          <p:cNvSpPr/>
          <p:nvPr/>
        </p:nvSpPr>
        <p:spPr>
          <a:xfrm>
            <a:off x="4191675" y="1196226"/>
            <a:ext cx="3403600" cy="1524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Analysis of the data from one unit and looking for correlations between abnormal indicators and  pump </a:t>
            </a:r>
            <a:r>
              <a:rPr lang="en-US" dirty="0" err="1">
                <a:solidFill>
                  <a:schemeClr val="tx1"/>
                </a:solidFill>
              </a:rPr>
              <a:t>failiure</a:t>
            </a:r>
            <a:endParaRPr lang="en-US" dirty="0">
              <a:solidFill>
                <a:schemeClr val="tx1"/>
              </a:solidFill>
            </a:endParaRPr>
          </a:p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A715505D-C86D-48FE-A1B2-755C144D7FEE}"/>
              </a:ext>
            </a:extLst>
          </p:cNvPr>
          <p:cNvSpPr/>
          <p:nvPr/>
        </p:nvSpPr>
        <p:spPr>
          <a:xfrm>
            <a:off x="788075" y="2903960"/>
            <a:ext cx="3403600" cy="1524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Build up an equation to represent the correlations between variables and pump failure</a:t>
            </a:r>
          </a:p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B90EA959-9B65-4D97-92D0-32DB870440BA}"/>
              </a:ext>
            </a:extLst>
          </p:cNvPr>
          <p:cNvSpPr/>
          <p:nvPr/>
        </p:nvSpPr>
        <p:spPr>
          <a:xfrm>
            <a:off x="4191675" y="2903960"/>
            <a:ext cx="3403600" cy="1524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rgbClr val="002060"/>
                </a:solidFill>
              </a:rPr>
              <a:t>Model the failure for one pump and scale this our for all pumps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E8308BD-779E-4347-96A7-5F51871A4AEA}"/>
              </a:ext>
            </a:extLst>
          </p:cNvPr>
          <p:cNvSpPr/>
          <p:nvPr/>
        </p:nvSpPr>
        <p:spPr>
          <a:xfrm>
            <a:off x="213104" y="250450"/>
            <a:ext cx="8535230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>
                <a:solidFill>
                  <a:schemeClr val="tx1"/>
                </a:solidFill>
              </a:rPr>
              <a:t>Instability of desalination plants could be alleviated through the proactive identification of pump failure. </a:t>
            </a:r>
          </a:p>
        </p:txBody>
      </p:sp>
    </p:spTree>
    <p:extLst>
      <p:ext uri="{BB962C8B-B14F-4D97-AF65-F5344CB8AC3E}">
        <p14:creationId xmlns:p14="http://schemas.microsoft.com/office/powerpoint/2010/main" val="211126286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0" name="Google Shape;50;p2"/>
          <p:cNvGraphicFramePr/>
          <p:nvPr/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86" r:id="rId4" imgW="1587" imgH="1587" progId="TCLayout.ActiveDocument.1">
                  <p:embed/>
                </p:oleObj>
              </mc:Choice>
              <mc:Fallback>
                <p:oleObj r:id="rId4" imgW="1587" imgH="1587" progId="TCLayout.ActiveDocument.1">
                  <p:embed/>
                  <p:pic>
                    <p:nvPicPr>
                      <p:cNvPr id="50" name="Google Shape;50;p2"/>
                      <p:cNvPicPr preferRelativeResize="0"/>
                      <p:nvPr/>
                    </p:nvPicPr>
                    <p:blipFill rotWithShape="1">
                      <a:blip r:embed="rId5">
                        <a:alphaModFix/>
                      </a:blip>
                      <a:srcRect/>
                      <a:stretch/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3">
            <a:extLst>
              <a:ext uri="{FF2B5EF4-FFF2-40B4-BE49-F238E27FC236}">
                <a16:creationId xmlns:a16="http://schemas.microsoft.com/office/drawing/2014/main" id="{BE2EEC12-DFE7-4347-829D-CA118C7F8318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76302" y="1037690"/>
            <a:ext cx="8408831" cy="3208387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9DF618A7-5E33-445B-A1ED-C6BE0A3CF79E}"/>
              </a:ext>
            </a:extLst>
          </p:cNvPr>
          <p:cNvSpPr/>
          <p:nvPr/>
        </p:nvSpPr>
        <p:spPr>
          <a:xfrm>
            <a:off x="138151" y="4733364"/>
            <a:ext cx="8685134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/>
              <a:t>Regression variables: During the Failure Window (i.e. Failure Mode = 1 the Pump Torque, </a:t>
            </a:r>
            <a:r>
              <a:rPr lang="en-US" dirty="0" err="1"/>
              <a:t>Surjek</a:t>
            </a:r>
            <a:r>
              <a:rPr lang="en-US" dirty="0"/>
              <a:t> Flow Meter 2 and Maximum Daily Pump Torque seem to 'move' in tandem with the Pump Failure. To a lesser extent, Pump RPM is also seen to peak up slightly in relation to the Failure Event.</a:t>
            </a:r>
          </a:p>
          <a:p>
            <a:endParaRPr lang="en-US" dirty="0"/>
          </a:p>
          <a:p>
            <a:r>
              <a:rPr lang="en-US" dirty="0"/>
              <a:t>Failure Behavior: the Pump Torque, </a:t>
            </a:r>
            <a:r>
              <a:rPr lang="en-US" dirty="0" err="1"/>
              <a:t>Surjek</a:t>
            </a:r>
            <a:r>
              <a:rPr lang="en-US" dirty="0"/>
              <a:t> Flow Meter 2 and Maximum Daily Pump Torque dramatically increased when the failure mode is 1. 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40D5D195-802D-4E2D-85EC-90550A513732}"/>
              </a:ext>
            </a:extLst>
          </p:cNvPr>
          <p:cNvSpPr txBox="1"/>
          <p:nvPr/>
        </p:nvSpPr>
        <p:spPr>
          <a:xfrm>
            <a:off x="138151" y="55383"/>
            <a:ext cx="8408831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n-US" dirty="0"/>
              <a:t>Through utilization of descriptive and inferential statistics, several key variables strongly correlated with the pump failure, enabling development of a multivariate equation capable of proactively identifying abnormal pump behavior.   </a:t>
            </a:r>
          </a:p>
        </p:txBody>
      </p:sp>
    </p:spTree>
    <p:extLst>
      <p:ext uri="{BB962C8B-B14F-4D97-AF65-F5344CB8AC3E}">
        <p14:creationId xmlns:p14="http://schemas.microsoft.com/office/powerpoint/2010/main" val="186848463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0" name="Google Shape;50;p2"/>
          <p:cNvGraphicFramePr/>
          <p:nvPr/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03" r:id="rId4" imgW="1587" imgH="1587" progId="TCLayout.ActiveDocument.1">
                  <p:embed/>
                </p:oleObj>
              </mc:Choice>
              <mc:Fallback>
                <p:oleObj r:id="rId4" imgW="1587" imgH="1587" progId="TCLayout.ActiveDocument.1">
                  <p:embed/>
                  <p:pic>
                    <p:nvPicPr>
                      <p:cNvPr id="50" name="Google Shape;50;p2"/>
                      <p:cNvPicPr preferRelativeResize="0"/>
                      <p:nvPr/>
                    </p:nvPicPr>
                    <p:blipFill rotWithShape="1">
                      <a:blip r:embed="rId5">
                        <a:alphaModFix/>
                      </a:blip>
                      <a:srcRect/>
                      <a:stretch/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3">
            <a:extLst>
              <a:ext uri="{FF2B5EF4-FFF2-40B4-BE49-F238E27FC236}">
                <a16:creationId xmlns:a16="http://schemas.microsoft.com/office/drawing/2014/main" id="{52F14E2E-FB87-440B-A124-FFF27FCD15C1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49705" y="1395354"/>
            <a:ext cx="4158476" cy="4386880"/>
          </a:xfrm>
          <a:prstGeom prst="rect">
            <a:avLst/>
          </a:prstGeom>
          <a:noFill/>
          <a:ln>
            <a:noFill/>
          </a:ln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DE9BE0AA-8BC7-4DF6-844E-EA205072699D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480719" y="1395354"/>
            <a:ext cx="4408180" cy="4386879"/>
          </a:xfrm>
          <a:prstGeom prst="rect">
            <a:avLst/>
          </a:prstGeom>
          <a:noFill/>
          <a:ln>
            <a:noFill/>
          </a:ln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7DFF6779-80C2-4BA9-AA7D-EA59BB4131DE}"/>
              </a:ext>
            </a:extLst>
          </p:cNvPr>
          <p:cNvSpPr txBox="1"/>
          <p:nvPr/>
        </p:nvSpPr>
        <p:spPr>
          <a:xfrm>
            <a:off x="149341" y="122273"/>
            <a:ext cx="8377518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n-US" dirty="0"/>
              <a:t>Splitting the data into two respective sets, indicating normal behavior and abnormal behavior, yielded 5 particular signatures (Surjek_Flow_Meter1, Surjek_Flow_Meter2, </a:t>
            </a:r>
            <a:r>
              <a:rPr lang="en-US" dirty="0" err="1"/>
              <a:t>Rotational_Pump_RPM</a:t>
            </a:r>
            <a:r>
              <a:rPr lang="en-US" dirty="0"/>
              <a:t>, </a:t>
            </a:r>
            <a:r>
              <a:rPr lang="en-US" dirty="0" err="1"/>
              <a:t>Surjek_pump_Torque</a:t>
            </a:r>
            <a:r>
              <a:rPr lang="en-US" dirty="0"/>
              <a:t>, </a:t>
            </a:r>
            <a:r>
              <a:rPr lang="en-US" dirty="0" err="1"/>
              <a:t>Maximum_Daily_Pump_Torque</a:t>
            </a:r>
            <a:r>
              <a:rPr lang="en-US" dirty="0"/>
              <a:t>  ) are  closely with pump failure.</a:t>
            </a:r>
          </a:p>
        </p:txBody>
      </p:sp>
    </p:spTree>
    <p:extLst>
      <p:ext uri="{BB962C8B-B14F-4D97-AF65-F5344CB8AC3E}">
        <p14:creationId xmlns:p14="http://schemas.microsoft.com/office/powerpoint/2010/main" val="124928738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0" name="Google Shape;50;p2"/>
          <p:cNvGraphicFramePr/>
          <p:nvPr/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26" r:id="rId4" imgW="1587" imgH="1587" progId="TCLayout.ActiveDocument.1">
                  <p:embed/>
                </p:oleObj>
              </mc:Choice>
              <mc:Fallback>
                <p:oleObj r:id="rId4" imgW="1587" imgH="1587" progId="TCLayout.ActiveDocument.1">
                  <p:embed/>
                  <p:pic>
                    <p:nvPicPr>
                      <p:cNvPr id="50" name="Google Shape;50;p2"/>
                      <p:cNvPicPr preferRelativeResize="0"/>
                      <p:nvPr/>
                    </p:nvPicPr>
                    <p:blipFill rotWithShape="1">
                      <a:blip r:embed="rId5">
                        <a:alphaModFix/>
                      </a:blip>
                      <a:srcRect/>
                      <a:stretch/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id="{F2903367-AE09-4D79-894B-A9A04427AE48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b="14338"/>
          <a:stretch/>
        </p:blipFill>
        <p:spPr>
          <a:xfrm>
            <a:off x="-15979" y="3767089"/>
            <a:ext cx="8780930" cy="2814748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66AFE877-251F-4D23-B396-BCFA2D0337C2}"/>
              </a:ext>
            </a:extLst>
          </p:cNvPr>
          <p:cNvSpPr txBox="1"/>
          <p:nvPr/>
        </p:nvSpPr>
        <p:spPr>
          <a:xfrm>
            <a:off x="196484" y="189131"/>
            <a:ext cx="792223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Using the values from correlation analysis, to build the regressive equation  that enabled us to create a unique failure signature for an individual  pump.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2C7118CD-4350-4009-A43E-83EE4C372FB4}"/>
              </a:ext>
            </a:extLst>
          </p:cNvPr>
          <p:cNvSpPr/>
          <p:nvPr/>
        </p:nvSpPr>
        <p:spPr>
          <a:xfrm>
            <a:off x="3627791" y="4312611"/>
            <a:ext cx="1705855" cy="576302"/>
          </a:xfrm>
          <a:prstGeom prst="rect">
            <a:avLst/>
          </a:prstGeom>
          <a:noFill/>
          <a:ln>
            <a:solidFill>
              <a:schemeClr val="accent6">
                <a:lumMod val="60000"/>
                <a:lumOff val="40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Pre-Failure signature may indicate failures operators may have missed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5D829A2F-4A50-4641-8877-862A753B067A}"/>
              </a:ext>
            </a:extLst>
          </p:cNvPr>
          <p:cNvSpPr/>
          <p:nvPr/>
        </p:nvSpPr>
        <p:spPr>
          <a:xfrm>
            <a:off x="2312542" y="5495952"/>
            <a:ext cx="753387" cy="952820"/>
          </a:xfrm>
          <a:prstGeom prst="rect">
            <a:avLst/>
          </a:prstGeom>
          <a:noFill/>
          <a:ln>
            <a:solidFill>
              <a:schemeClr val="accent6">
                <a:lumMod val="60000"/>
                <a:lumOff val="40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 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A04B4F21-19D1-4F5D-AFB9-F87F33582A90}"/>
              </a:ext>
            </a:extLst>
          </p:cNvPr>
          <p:cNvSpPr/>
          <p:nvPr/>
        </p:nvSpPr>
        <p:spPr>
          <a:xfrm>
            <a:off x="6476008" y="4312610"/>
            <a:ext cx="753387" cy="2067005"/>
          </a:xfrm>
          <a:prstGeom prst="rect">
            <a:avLst/>
          </a:prstGeom>
          <a:noFill/>
          <a:ln>
            <a:solidFill>
              <a:schemeClr val="accent6">
                <a:lumMod val="60000"/>
                <a:lumOff val="40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 </a:t>
            </a:r>
          </a:p>
        </p:txBody>
      </p:sp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2C7C87B2-4CA9-4380-B1C6-5525FEE8E7F5}"/>
              </a:ext>
            </a:extLst>
          </p:cNvPr>
          <p:cNvSpPr/>
          <p:nvPr/>
        </p:nvSpPr>
        <p:spPr>
          <a:xfrm>
            <a:off x="2727832" y="4566184"/>
            <a:ext cx="814507" cy="883664"/>
          </a:xfrm>
          <a:custGeom>
            <a:avLst/>
            <a:gdLst>
              <a:gd name="connsiteX0" fmla="*/ 814507 w 814507"/>
              <a:gd name="connsiteY0" fmla="*/ 7684 h 883664"/>
              <a:gd name="connsiteX1" fmla="*/ 0 w 814507"/>
              <a:gd name="connsiteY1" fmla="*/ 0 h 883664"/>
              <a:gd name="connsiteX2" fmla="*/ 7684 w 814507"/>
              <a:gd name="connsiteY2" fmla="*/ 883664 h 883664"/>
              <a:gd name="connsiteX3" fmla="*/ 7684 w 814507"/>
              <a:gd name="connsiteY3" fmla="*/ 883664 h 8836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14507" h="883664">
                <a:moveTo>
                  <a:pt x="814507" y="7684"/>
                </a:moveTo>
                <a:lnTo>
                  <a:pt x="0" y="0"/>
                </a:lnTo>
                <a:cubicBezTo>
                  <a:pt x="2561" y="294555"/>
                  <a:pt x="5123" y="589109"/>
                  <a:pt x="7684" y="883664"/>
                </a:cubicBezTo>
                <a:lnTo>
                  <a:pt x="7684" y="883664"/>
                </a:lnTo>
              </a:path>
            </a:pathLst>
          </a:custGeom>
          <a:noFill/>
          <a:ln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Freeform: Shape 17">
            <a:extLst>
              <a:ext uri="{FF2B5EF4-FFF2-40B4-BE49-F238E27FC236}">
                <a16:creationId xmlns:a16="http://schemas.microsoft.com/office/drawing/2014/main" id="{254F9209-7D8D-468C-AC8D-717A5F025284}"/>
              </a:ext>
            </a:extLst>
          </p:cNvPr>
          <p:cNvSpPr/>
          <p:nvPr/>
        </p:nvSpPr>
        <p:spPr>
          <a:xfrm>
            <a:off x="5419098" y="4566184"/>
            <a:ext cx="892982" cy="45719"/>
          </a:xfrm>
          <a:custGeom>
            <a:avLst/>
            <a:gdLst>
              <a:gd name="connsiteX0" fmla="*/ 814507 w 814507"/>
              <a:gd name="connsiteY0" fmla="*/ 7684 h 883664"/>
              <a:gd name="connsiteX1" fmla="*/ 0 w 814507"/>
              <a:gd name="connsiteY1" fmla="*/ 0 h 883664"/>
              <a:gd name="connsiteX2" fmla="*/ 7684 w 814507"/>
              <a:gd name="connsiteY2" fmla="*/ 883664 h 883664"/>
              <a:gd name="connsiteX3" fmla="*/ 7684 w 814507"/>
              <a:gd name="connsiteY3" fmla="*/ 883664 h 8836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14507" h="883664">
                <a:moveTo>
                  <a:pt x="814507" y="7684"/>
                </a:moveTo>
                <a:lnTo>
                  <a:pt x="0" y="0"/>
                </a:lnTo>
                <a:cubicBezTo>
                  <a:pt x="2561" y="294555"/>
                  <a:pt x="5123" y="589109"/>
                  <a:pt x="7684" y="883664"/>
                </a:cubicBezTo>
                <a:lnTo>
                  <a:pt x="7684" y="883664"/>
                </a:lnTo>
              </a:path>
            </a:pathLst>
          </a:custGeom>
          <a:noFill/>
          <a:ln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12" name="Chart 11">
            <a:extLst>
              <a:ext uri="{FF2B5EF4-FFF2-40B4-BE49-F238E27FC236}">
                <a16:creationId xmlns:a16="http://schemas.microsoft.com/office/drawing/2014/main" id="{73DF5313-CF50-435D-B092-26C7A3C09F9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646358858"/>
              </p:ext>
            </p:extLst>
          </p:nvPr>
        </p:nvGraphicFramePr>
        <p:xfrm>
          <a:off x="424706" y="971077"/>
          <a:ext cx="5802728" cy="27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2" name="TextBox 1">
            <a:extLst>
              <a:ext uri="{FF2B5EF4-FFF2-40B4-BE49-F238E27FC236}">
                <a16:creationId xmlns:a16="http://schemas.microsoft.com/office/drawing/2014/main" id="{88C53C8E-A4EE-48BB-814F-52FC5CD1D064}"/>
              </a:ext>
            </a:extLst>
          </p:cNvPr>
          <p:cNvSpPr txBox="1"/>
          <p:nvPr/>
        </p:nvSpPr>
        <p:spPr>
          <a:xfrm>
            <a:off x="6231105" y="2215721"/>
            <a:ext cx="2690476" cy="1477328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sz="1000" dirty="0"/>
              <a:t>Expanding on initial insights, this further reinforced with Pearson correlation highlighting Surjek_Flow_Meter1, Surjek_Flow_Meter2, </a:t>
            </a:r>
            <a:r>
              <a:rPr lang="en-US" sz="1000" dirty="0" err="1"/>
              <a:t>Rotational_Pump_RPM</a:t>
            </a:r>
            <a:r>
              <a:rPr lang="en-US" sz="1000" dirty="0"/>
              <a:t>, </a:t>
            </a:r>
            <a:r>
              <a:rPr lang="en-US" sz="1000" dirty="0" err="1"/>
              <a:t>Surjek_pump_Torque</a:t>
            </a:r>
            <a:r>
              <a:rPr lang="en-US" sz="1000" dirty="0"/>
              <a:t> are correlated with pump failure.  </a:t>
            </a:r>
          </a:p>
          <a:p>
            <a:endParaRPr lang="en-US" sz="1000" dirty="0"/>
          </a:p>
          <a:p>
            <a:endParaRPr lang="en-US" sz="1000" dirty="0"/>
          </a:p>
        </p:txBody>
      </p:sp>
    </p:spTree>
    <p:extLst>
      <p:ext uri="{BB962C8B-B14F-4D97-AF65-F5344CB8AC3E}">
        <p14:creationId xmlns:p14="http://schemas.microsoft.com/office/powerpoint/2010/main" val="1751572940"/>
      </p:ext>
    </p:extLst>
  </p:cSld>
  <p:clrMapOvr>
    <a:masterClrMapping/>
  </p:clrMapOvr>
</p:sld>
</file>

<file path=ppt/theme/theme1.xml><?xml version="1.0" encoding="utf-8"?>
<a:theme xmlns:a="http://schemas.openxmlformats.org/drawingml/2006/main" name="Synergy_CF_YNR002">
  <a:themeElements>
    <a:clrScheme name="Current">
      <a:dk1>
        <a:srgbClr val="002C46"/>
      </a:dk1>
      <a:lt1>
        <a:srgbClr val="FFFFFF"/>
      </a:lt1>
      <a:dk2>
        <a:srgbClr val="FBC14E"/>
      </a:dk2>
      <a:lt2>
        <a:srgbClr val="879C16"/>
      </a:lt2>
      <a:accent1>
        <a:srgbClr val="99AABE"/>
      </a:accent1>
      <a:accent2>
        <a:srgbClr val="406085"/>
      </a:accent2>
      <a:accent3>
        <a:srgbClr val="002C46"/>
      </a:accent3>
      <a:accent4>
        <a:srgbClr val="FBC14E"/>
      </a:accent4>
      <a:accent5>
        <a:srgbClr val="379BBD"/>
      </a:accent5>
      <a:accent6>
        <a:srgbClr val="808080"/>
      </a:accent6>
      <a:hlink>
        <a:srgbClr val="002C46"/>
      </a:hlink>
      <a:folHlink>
        <a:srgbClr val="FBC14E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000000"/>
      </a:lt2>
      <a:accent1>
        <a:srgbClr val="FFFFFF"/>
      </a:accent1>
      <a:accent2>
        <a:srgbClr val="D0D0D0"/>
      </a:accent2>
      <a:accent3>
        <a:srgbClr val="FFFFFF"/>
      </a:accent3>
      <a:accent4>
        <a:srgbClr val="000000"/>
      </a:accent4>
      <a:accent5>
        <a:srgbClr val="FFFFFF"/>
      </a:accent5>
      <a:accent6>
        <a:srgbClr val="BCBCBC"/>
      </a:accent6>
      <a:hlink>
        <a:srgbClr val="909090"/>
      </a:hlink>
      <a:folHlink>
        <a:srgbClr val="000000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otalTime>3187</TotalTime>
  <Words>466</Words>
  <Application>Microsoft Office PowerPoint</Application>
  <PresentationFormat>Custom</PresentationFormat>
  <Paragraphs>32</Paragraphs>
  <Slides>6</Slides>
  <Notes>5</Notes>
  <HiddenSlides>0</HiddenSlides>
  <MMClips>0</MMClips>
  <ScaleCrop>false</ScaleCrop>
  <HeadingPairs>
    <vt:vector size="8" baseType="variant">
      <vt:variant>
        <vt:lpstr>Fonts Used</vt:lpstr>
      </vt:variant>
      <vt:variant>
        <vt:i4>1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</vt:i4>
      </vt:variant>
    </vt:vector>
  </HeadingPairs>
  <TitlesOfParts>
    <vt:vector size="9" baseType="lpstr">
      <vt:lpstr>Arial</vt:lpstr>
      <vt:lpstr>Synergy_CF_YNR002</vt:lpstr>
      <vt:lpstr>TCLayout.ActiveDocument.1</vt:lpstr>
      <vt:lpstr>Southern Water Corp – Technical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outhern Water Corp – Executive Presentation</dc:title>
  <dc:creator>Chris Hui</dc:creator>
  <cp:lastModifiedBy>Windows User</cp:lastModifiedBy>
  <cp:revision>52</cp:revision>
  <dcterms:created xsi:type="dcterms:W3CDTF">2015-09-14T11:37:31Z</dcterms:created>
  <dcterms:modified xsi:type="dcterms:W3CDTF">2021-01-14T02:36:0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itle">
    <vt:lpwstr>Title</vt:lpwstr>
  </property>
  <property fmtid="{D5CDD505-2E9C-101B-9397-08002B2CF9AE}" pid="3" name="Final">
    <vt:bool>false</vt:bool>
  </property>
  <property fmtid="{D5CDD505-2E9C-101B-9397-08002B2CF9AE}" pid="4" name="Event">
    <vt:lpwstr/>
  </property>
  <property fmtid="{D5CDD505-2E9C-101B-9397-08002B2CF9AE}" pid="5" name="Delivery Date">
    <vt:lpwstr>Date</vt:lpwstr>
  </property>
  <property fmtid="{D5CDD505-2E9C-101B-9397-08002B2CF9AE}" pid="6" name="Office2010EditCount">
    <vt:lpwstr>1</vt:lpwstr>
  </property>
  <property fmtid="{D5CDD505-2E9C-101B-9397-08002B2CF9AE}" pid="7" name="Office2003EditCount">
    <vt:lpwstr>0</vt:lpwstr>
  </property>
  <property fmtid="{D5CDD505-2E9C-101B-9397-08002B2CF9AE}" pid="8" name="LastEditedOfficeVersion">
    <vt:lpwstr>Office2010</vt:lpwstr>
  </property>
  <property fmtid="{D5CDD505-2E9C-101B-9397-08002B2CF9AE}" pid="9" name="Office2010WasSaved">
    <vt:lpwstr>1</vt:lpwstr>
  </property>
  <property fmtid="{D5CDD505-2E9C-101B-9397-08002B2CF9AE}" pid="10" name="DocID">
    <vt:lpwstr>Doc ID</vt:lpwstr>
  </property>
  <property fmtid="{D5CDD505-2E9C-101B-9397-08002B2CF9AE}" pid="11" name="MSIP_Label_97c7b3fc-4128-41ae-86b4-e4b1b1ae5e15_Enabled">
    <vt:lpwstr>True</vt:lpwstr>
  </property>
  <property fmtid="{D5CDD505-2E9C-101B-9397-08002B2CF9AE}" pid="12" name="MSIP_Label_97c7b3fc-4128-41ae-86b4-e4b1b1ae5e15_SiteId">
    <vt:lpwstr>97160e56-eb00-44fe-b31d-0d6d351c636d</vt:lpwstr>
  </property>
  <property fmtid="{D5CDD505-2E9C-101B-9397-08002B2CF9AE}" pid="13" name="MSIP_Label_97c7b3fc-4128-41ae-86b4-e4b1b1ae5e15_Owner">
    <vt:lpwstr>Chris.Hui@origin.com.au</vt:lpwstr>
  </property>
  <property fmtid="{D5CDD505-2E9C-101B-9397-08002B2CF9AE}" pid="14" name="MSIP_Label_97c7b3fc-4128-41ae-86b4-e4b1b1ae5e15_SetDate">
    <vt:lpwstr>2019-06-30T23:39:24.8162734Z</vt:lpwstr>
  </property>
  <property fmtid="{D5CDD505-2E9C-101B-9397-08002B2CF9AE}" pid="15" name="MSIP_Label_97c7b3fc-4128-41ae-86b4-e4b1b1ae5e15_Name">
    <vt:lpwstr>General</vt:lpwstr>
  </property>
  <property fmtid="{D5CDD505-2E9C-101B-9397-08002B2CF9AE}" pid="16" name="MSIP_Label_97c7b3fc-4128-41ae-86b4-e4b1b1ae5e15_Application">
    <vt:lpwstr>Microsoft Azure Information Protection</vt:lpwstr>
  </property>
  <property fmtid="{D5CDD505-2E9C-101B-9397-08002B2CF9AE}" pid="17" name="MSIP_Label_97c7b3fc-4128-41ae-86b4-e4b1b1ae5e15_ActionId">
    <vt:lpwstr>d3fbac77-f25a-4694-bf90-8d76f690b9b8</vt:lpwstr>
  </property>
  <property fmtid="{D5CDD505-2E9C-101B-9397-08002B2CF9AE}" pid="18" name="MSIP_Label_97c7b3fc-4128-41ae-86b4-e4b1b1ae5e15_Extended_MSFT_Method">
    <vt:lpwstr>Automatic</vt:lpwstr>
  </property>
  <property fmtid="{D5CDD505-2E9C-101B-9397-08002B2CF9AE}" pid="19" name="Sensitivity">
    <vt:lpwstr>General</vt:lpwstr>
  </property>
</Properties>
</file>